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9" r:id="rId2"/>
  </p:sldIdLst>
  <p:sldSz cx="7556500" cy="10693400"/>
  <p:notesSz cx="6858000" cy="9144000"/>
  <p:embeddedFontLst>
    <p:embeddedFont>
      <p:font typeface="Albert Sans" pitchFamily="2" charset="0"/>
      <p:regular r:id="rId3"/>
      <p:bold r:id="rId4"/>
      <p:italic r:id="rId5"/>
      <p:boldItalic r:id="rId6"/>
    </p:embeddedFont>
    <p:embeddedFont>
      <p:font typeface="DM Sans" pitchFamily="2" charset="0"/>
      <p:regular r:id="rId7"/>
      <p:bold r:id="rId8"/>
      <p:italic r:id="rId9"/>
      <p:boldItalic r:id="rId10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F996A"/>
    <a:srgbClr val="366C41"/>
    <a:srgbClr val="487A63"/>
    <a:srgbClr val="FFF9C4"/>
    <a:srgbClr val="3086B0"/>
    <a:srgbClr val="A464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 varScale="1">
        <p:scale>
          <a:sx n="49" d="100"/>
          <a:sy n="49" d="100"/>
        </p:scale>
        <p:origin x="2045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13" Type="http://schemas.openxmlformats.org/officeDocument/2006/relationships/theme" Target="theme/theme1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presProps" Target="presProps.xml"/><Relationship Id="rId5" Type="http://schemas.openxmlformats.org/officeDocument/2006/relationships/font" Target="fonts/font3.fntdata"/><Relationship Id="rId10" Type="http://schemas.openxmlformats.org/officeDocument/2006/relationships/font" Target="fonts/font8.fntdata"/><Relationship Id="rId4" Type="http://schemas.openxmlformats.org/officeDocument/2006/relationships/font" Target="fonts/font2.fntdata"/><Relationship Id="rId9" Type="http://schemas.openxmlformats.org/officeDocument/2006/relationships/font" Target="fonts/font7.fntdata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9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9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9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9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9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9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8/2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10" Type="http://schemas.openxmlformats.org/officeDocument/2006/relationships/image" Target="../media/image8.svg"/><Relationship Id="rId4" Type="http://schemas.openxmlformats.org/officeDocument/2006/relationships/image" Target="../media/image2.svg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BF1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olf #3">
            <a:extLst>
              <a:ext uri="{FF2B5EF4-FFF2-40B4-BE49-F238E27FC236}">
                <a16:creationId xmlns:a16="http://schemas.microsoft.com/office/drawing/2014/main" id="{A4B2C2E8-ADF5-9B1C-D499-63FD1D099122}"/>
              </a:ext>
            </a:extLst>
          </p:cNvPr>
          <p:cNvGrpSpPr/>
          <p:nvPr/>
        </p:nvGrpSpPr>
        <p:grpSpPr>
          <a:xfrm>
            <a:off x="268353" y="1"/>
            <a:ext cx="7288147" cy="3568686"/>
            <a:chOff x="268353" y="1"/>
            <a:chExt cx="7288147" cy="3568686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F62C3024-1379-AD29-C265-F79AFAA7E9FD}"/>
                </a:ext>
              </a:extLst>
            </p:cNvPr>
            <p:cNvGrpSpPr/>
            <p:nvPr/>
          </p:nvGrpSpPr>
          <p:grpSpPr>
            <a:xfrm>
              <a:off x="268353" y="1"/>
              <a:ext cx="7288147" cy="3568686"/>
              <a:chOff x="268353" y="1"/>
              <a:chExt cx="7288147" cy="3568686"/>
            </a:xfrm>
          </p:grpSpPr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319E18EC-532A-F0FE-2080-3FCA961101F3}"/>
                  </a:ext>
                </a:extLst>
              </p:cNvPr>
              <p:cNvSpPr/>
              <p:nvPr/>
            </p:nvSpPr>
            <p:spPr>
              <a:xfrm>
                <a:off x="5670000" y="1"/>
                <a:ext cx="1886500" cy="1434513"/>
              </a:xfrm>
              <a:custGeom>
                <a:avLst/>
                <a:gdLst>
                  <a:gd name="connsiteX0" fmla="*/ 41545 w 1886500"/>
                  <a:gd name="connsiteY0" fmla="*/ 0 h 1434513"/>
                  <a:gd name="connsiteX1" fmla="*/ 1886500 w 1886500"/>
                  <a:gd name="connsiteY1" fmla="*/ 0 h 1434513"/>
                  <a:gd name="connsiteX2" fmla="*/ 1886500 w 1886500"/>
                  <a:gd name="connsiteY2" fmla="*/ 1143098 h 1434513"/>
                  <a:gd name="connsiteX3" fmla="*/ 1768031 w 1886500"/>
                  <a:gd name="connsiteY3" fmla="*/ 1240844 h 1434513"/>
                  <a:gd name="connsiteX4" fmla="*/ 1134000 w 1886500"/>
                  <a:gd name="connsiteY4" fmla="*/ 1434513 h 1434513"/>
                  <a:gd name="connsiteX5" fmla="*/ 0 w 1886500"/>
                  <a:gd name="connsiteY5" fmla="*/ 300513 h 1434513"/>
                  <a:gd name="connsiteX6" fmla="*/ 23039 w 1886500"/>
                  <a:gd name="connsiteY6" fmla="*/ 71972 h 1434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86500" h="1434513">
                    <a:moveTo>
                      <a:pt x="41545" y="0"/>
                    </a:moveTo>
                    <a:lnTo>
                      <a:pt x="1886500" y="0"/>
                    </a:lnTo>
                    <a:lnTo>
                      <a:pt x="1886500" y="1143098"/>
                    </a:lnTo>
                    <a:lnTo>
                      <a:pt x="1768031" y="1240844"/>
                    </a:lnTo>
                    <a:cubicBezTo>
                      <a:pt x="1587043" y="1363117"/>
                      <a:pt x="1368860" y="1434513"/>
                      <a:pt x="1134000" y="1434513"/>
                    </a:cubicBezTo>
                    <a:cubicBezTo>
                      <a:pt x="507708" y="1434513"/>
                      <a:pt x="0" y="926805"/>
                      <a:pt x="0" y="300513"/>
                    </a:cubicBezTo>
                    <a:cubicBezTo>
                      <a:pt x="0" y="222227"/>
                      <a:pt x="7933" y="145793"/>
                      <a:pt x="23039" y="71972"/>
                    </a:cubicBezTo>
                    <a:close/>
                  </a:path>
                </a:pathLst>
              </a:custGeom>
              <a:solidFill>
                <a:srgbClr val="FFF1D2">
                  <a:alpha val="80000"/>
                </a:srgbClr>
              </a:solid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6" name="Freeform 6"/>
              <p:cNvSpPr/>
              <p:nvPr/>
            </p:nvSpPr>
            <p:spPr>
              <a:xfrm>
                <a:off x="5282841" y="3375727"/>
                <a:ext cx="1244072" cy="192960"/>
              </a:xfrm>
              <a:custGeom>
                <a:avLst/>
                <a:gdLst/>
                <a:ahLst/>
                <a:cxnLst/>
                <a:rect l="l" t="t" r="r" b="b"/>
                <a:pathLst>
                  <a:path w="445847" h="69152">
                    <a:moveTo>
                      <a:pt x="222924" y="0"/>
                    </a:moveTo>
                    <a:cubicBezTo>
                      <a:pt x="99806" y="0"/>
                      <a:pt x="0" y="15480"/>
                      <a:pt x="0" y="34576"/>
                    </a:cubicBezTo>
                    <a:cubicBezTo>
                      <a:pt x="0" y="53672"/>
                      <a:pt x="99806" y="69152"/>
                      <a:pt x="222924" y="69152"/>
                    </a:cubicBezTo>
                    <a:cubicBezTo>
                      <a:pt x="346041" y="69152"/>
                      <a:pt x="445847" y="53672"/>
                      <a:pt x="445847" y="34576"/>
                    </a:cubicBezTo>
                    <a:cubicBezTo>
                      <a:pt x="445847" y="15480"/>
                      <a:pt x="346041" y="0"/>
                      <a:pt x="222924" y="0"/>
                    </a:cubicBezTo>
                    <a:close/>
                  </a:path>
                </a:pathLst>
              </a:custGeom>
              <a:solidFill>
                <a:srgbClr val="487A63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" name="Freeform 8"/>
              <p:cNvSpPr/>
              <p:nvPr/>
            </p:nvSpPr>
            <p:spPr>
              <a:xfrm flipH="1">
                <a:off x="5223594" y="102055"/>
                <a:ext cx="2332905" cy="3466631"/>
              </a:xfrm>
              <a:custGeom>
                <a:avLst/>
                <a:gdLst/>
                <a:ahLst/>
                <a:cxnLst/>
                <a:rect l="l" t="t" r="r" b="b"/>
                <a:pathLst>
                  <a:path w="2369915" h="3466631">
                    <a:moveTo>
                      <a:pt x="2369916" y="0"/>
                    </a:moveTo>
                    <a:lnTo>
                      <a:pt x="0" y="0"/>
                    </a:lnTo>
                    <a:lnTo>
                      <a:pt x="0" y="3466632"/>
                    </a:lnTo>
                    <a:lnTo>
                      <a:pt x="2369916" y="3466632"/>
                    </a:lnTo>
                    <a:lnTo>
                      <a:pt x="2369916" y="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 l="-1586"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2" name="Freeform 12"/>
              <p:cNvSpPr/>
              <p:nvPr/>
            </p:nvSpPr>
            <p:spPr>
              <a:xfrm>
                <a:off x="268353" y="331023"/>
                <a:ext cx="322571" cy="322571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EFFFD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4" name="Freeform 14"/>
              <p:cNvSpPr/>
              <p:nvPr/>
            </p:nvSpPr>
            <p:spPr>
              <a:xfrm>
                <a:off x="353161" y="371944"/>
                <a:ext cx="152956" cy="240729"/>
              </a:xfrm>
              <a:custGeom>
                <a:avLst/>
                <a:gdLst/>
                <a:ahLst/>
                <a:cxnLst/>
                <a:rect l="l" t="t" r="r" b="b"/>
                <a:pathLst>
                  <a:path w="203941" h="320972">
                    <a:moveTo>
                      <a:pt x="0" y="0"/>
                    </a:moveTo>
                    <a:lnTo>
                      <a:pt x="203941" y="0"/>
                    </a:lnTo>
                    <a:lnTo>
                      <a:pt x="203941" y="320972"/>
                    </a:lnTo>
                    <a:lnTo>
                      <a:pt x="0" y="320972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6" name="Freeform 16"/>
              <p:cNvSpPr/>
              <p:nvPr/>
            </p:nvSpPr>
            <p:spPr>
              <a:xfrm rot="969255">
                <a:off x="2637577" y="1496245"/>
                <a:ext cx="718654" cy="718654"/>
              </a:xfrm>
              <a:custGeom>
                <a:avLst/>
                <a:gdLst/>
                <a:ahLst/>
                <a:cxnLst/>
                <a:rect l="l" t="t" r="r" b="b"/>
                <a:pathLst>
                  <a:path w="718654" h="718654">
                    <a:moveTo>
                      <a:pt x="0" y="0"/>
                    </a:moveTo>
                    <a:lnTo>
                      <a:pt x="718653" y="0"/>
                    </a:lnTo>
                    <a:lnTo>
                      <a:pt x="718653" y="718654"/>
                    </a:lnTo>
                    <a:lnTo>
                      <a:pt x="0" y="718654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7">
                  <a:alphaModFix amt="30000"/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7" name="Freeform 17"/>
              <p:cNvSpPr/>
              <p:nvPr/>
            </p:nvSpPr>
            <p:spPr>
              <a:xfrm rot="969255">
                <a:off x="2394273" y="1498780"/>
                <a:ext cx="909637" cy="909637"/>
              </a:xfrm>
              <a:custGeom>
                <a:avLst/>
                <a:gdLst/>
                <a:ahLst/>
                <a:cxnLst/>
                <a:rect l="l" t="t" r="r" b="b"/>
                <a:pathLst>
                  <a:path w="909637" h="909637">
                    <a:moveTo>
                      <a:pt x="0" y="0"/>
                    </a:moveTo>
                    <a:lnTo>
                      <a:pt x="909637" y="0"/>
                    </a:lnTo>
                    <a:lnTo>
                      <a:pt x="909637" y="909637"/>
                    </a:lnTo>
                    <a:lnTo>
                      <a:pt x="0" y="909637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7">
                  <a:alphaModFix amt="30000"/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8" name="Freeform 18"/>
              <p:cNvSpPr/>
              <p:nvPr/>
            </p:nvSpPr>
            <p:spPr>
              <a:xfrm rot="969255">
                <a:off x="2112610" y="1501883"/>
                <a:ext cx="1130670" cy="1130670"/>
              </a:xfrm>
              <a:custGeom>
                <a:avLst/>
                <a:gdLst/>
                <a:ahLst/>
                <a:cxnLst/>
                <a:rect l="l" t="t" r="r" b="b"/>
                <a:pathLst>
                  <a:path w="1130670" h="1130670">
                    <a:moveTo>
                      <a:pt x="0" y="0"/>
                    </a:moveTo>
                    <a:lnTo>
                      <a:pt x="1130670" y="0"/>
                    </a:lnTo>
                    <a:lnTo>
                      <a:pt x="1130670" y="1130670"/>
                    </a:lnTo>
                    <a:lnTo>
                      <a:pt x="0" y="113067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7">
                  <a:alphaModFix amt="30000"/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9" name="TextBox 19"/>
              <p:cNvSpPr txBox="1"/>
              <p:nvPr/>
            </p:nvSpPr>
            <p:spPr>
              <a:xfrm>
                <a:off x="268353" y="701608"/>
                <a:ext cx="4644076" cy="2700739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marL="0" lvl="0" indent="0" algn="just"/>
                <a:r>
                  <a:rPr lang="en-US" sz="17550" b="1" spc="-876" dirty="0">
                    <a:solidFill>
                      <a:srgbClr val="487A63"/>
                    </a:solidFill>
                    <a:latin typeface="DM Sans" pitchFamily="2" charset="0"/>
                    <a:ea typeface="DM Sans 2 Bold"/>
                    <a:cs typeface="DM Sans 2 Bold"/>
                    <a:sym typeface="DM Sans 2 Bold"/>
                  </a:rPr>
                  <a:t>Golf</a:t>
                </a:r>
              </a:p>
            </p:txBody>
          </p:sp>
          <p:sp>
            <p:nvSpPr>
              <p:cNvPr id="20" name="Freeform 20"/>
              <p:cNvSpPr/>
              <p:nvPr/>
            </p:nvSpPr>
            <p:spPr>
              <a:xfrm rot="969255">
                <a:off x="1918565" y="1561254"/>
                <a:ext cx="1229141" cy="1229141"/>
              </a:xfrm>
              <a:custGeom>
                <a:avLst/>
                <a:gdLst/>
                <a:ahLst/>
                <a:cxnLst/>
                <a:rect l="l" t="t" r="r" b="b"/>
                <a:pathLst>
                  <a:path w="1229141" h="1229141">
                    <a:moveTo>
                      <a:pt x="0" y="0"/>
                    </a:moveTo>
                    <a:lnTo>
                      <a:pt x="1229141" y="0"/>
                    </a:lnTo>
                    <a:lnTo>
                      <a:pt x="1229141" y="1229141"/>
                    </a:lnTo>
                    <a:lnTo>
                      <a:pt x="0" y="1229141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1" name="TextBox 21"/>
              <p:cNvSpPr txBox="1"/>
              <p:nvPr/>
            </p:nvSpPr>
            <p:spPr>
              <a:xfrm>
                <a:off x="4364688" y="2220427"/>
                <a:ext cx="717490" cy="570797"/>
              </a:xfrm>
              <a:prstGeom prst="rect">
                <a:avLst/>
              </a:prstGeom>
            </p:spPr>
            <p:txBody>
              <a:bodyPr lIns="0" tIns="91440" rIns="0" bIns="91440" rtlCol="0" anchor="t">
                <a:spAutoFit/>
              </a:bodyPr>
              <a:lstStyle/>
              <a:p>
                <a:pPr algn="l">
                  <a:lnSpc>
                    <a:spcPts val="1511"/>
                  </a:lnSpc>
                </a:pPr>
                <a:r>
                  <a:rPr lang="en-US" sz="1350" dirty="0">
                    <a:solidFill>
                      <a:srgbClr val="487A63"/>
                    </a:solidFill>
                    <a:latin typeface="DM Sans" pitchFamily="2" charset="0"/>
                    <a:ea typeface="DM Sans 2"/>
                    <a:cs typeface="DM Sans 2"/>
                    <a:sym typeface="DM Sans 2"/>
                  </a:rPr>
                  <a:t>SIGN UP </a:t>
                </a:r>
              </a:p>
              <a:p>
                <a:pPr algn="l">
                  <a:lnSpc>
                    <a:spcPts val="1511"/>
                  </a:lnSpc>
                </a:pPr>
                <a:r>
                  <a:rPr lang="en-US" sz="1350" dirty="0">
                    <a:solidFill>
                      <a:srgbClr val="487A63"/>
                    </a:solidFill>
                    <a:latin typeface="DM Sans" pitchFamily="2" charset="0"/>
                    <a:ea typeface="DM Sans 2"/>
                    <a:cs typeface="DM Sans 2"/>
                    <a:sym typeface="DM Sans 2"/>
                  </a:rPr>
                  <a:t>SHEET</a:t>
                </a:r>
              </a:p>
            </p:txBody>
          </p:sp>
          <p:sp>
            <p:nvSpPr>
              <p:cNvPr id="22" name="TextBox 22"/>
              <p:cNvSpPr txBox="1"/>
              <p:nvPr/>
            </p:nvSpPr>
            <p:spPr>
              <a:xfrm>
                <a:off x="663058" y="256507"/>
                <a:ext cx="761234" cy="471604"/>
              </a:xfrm>
              <a:prstGeom prst="rect">
                <a:avLst/>
              </a:prstGeom>
            </p:spPr>
            <p:txBody>
              <a:bodyPr lIns="0" tIns="91440" rIns="0" bIns="91440" rtlCol="0" anchor="t">
                <a:spAutoFit/>
              </a:bodyPr>
              <a:lstStyle/>
              <a:p>
                <a:pPr algn="l">
                  <a:lnSpc>
                    <a:spcPts val="1115"/>
                  </a:lnSpc>
                </a:pPr>
                <a:r>
                  <a:rPr lang="en-US" sz="1250" spc="-30" dirty="0">
                    <a:solidFill>
                      <a:srgbClr val="487A63">
                        <a:alpha val="94902"/>
                      </a:srgbClr>
                    </a:solidFill>
                    <a:latin typeface="Albert Sans"/>
                    <a:ea typeface="Albert Sans"/>
                    <a:cs typeface="Albert Sans"/>
                    <a:sym typeface="Albert Sans"/>
                  </a:rPr>
                  <a:t>Greenway Golf Co.</a:t>
                </a:r>
              </a:p>
            </p:txBody>
          </p:sp>
        </p:grpSp>
        <p:sp>
          <p:nvSpPr>
            <p:cNvPr id="15" name="QuickSignup"/>
            <p:cNvSpPr/>
            <p:nvPr/>
          </p:nvSpPr>
          <p:spPr>
            <a:xfrm>
              <a:off x="6408553" y="1702158"/>
              <a:ext cx="660903" cy="133213"/>
            </a:xfrm>
            <a:custGeom>
              <a:avLst/>
              <a:gdLst/>
              <a:ahLst/>
              <a:cxnLst/>
              <a:rect l="l" t="t" r="r" b="b"/>
              <a:pathLst>
                <a:path w="660903" h="133213">
                  <a:moveTo>
                    <a:pt x="0" y="0"/>
                  </a:moveTo>
                  <a:lnTo>
                    <a:pt x="660903" y="0"/>
                  </a:lnTo>
                  <a:lnTo>
                    <a:pt x="660903" y="133213"/>
                  </a:lnTo>
                  <a:lnTo>
                    <a:pt x="0" y="13321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9">
                <a:alphaModFix amt="80000"/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a:blip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en-US" dirty="0"/>
            </a:p>
          </p:txBody>
        </p:sp>
      </p:grpSp>
      <p:graphicFrame>
        <p:nvGraphicFramePr>
          <p:cNvPr id="9" name="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6687164"/>
              </p:ext>
            </p:extLst>
          </p:nvPr>
        </p:nvGraphicFramePr>
        <p:xfrm>
          <a:off x="268353" y="3472207"/>
          <a:ext cx="7019795" cy="6890170"/>
        </p:xfrm>
        <a:graphic>
          <a:graphicData uri="http://schemas.openxmlformats.org/drawingml/2006/table">
            <a:tbl>
              <a:tblPr/>
              <a:tblGrid>
                <a:gridCol w="23399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635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162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92155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ts val="1400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1000" b="1" dirty="0">
                          <a:solidFill>
                            <a:srgbClr val="487A63"/>
                          </a:solidFill>
                          <a:latin typeface="DM Sans" pitchFamily="2" charset="0"/>
                          <a:ea typeface="DM Sans 1 Bold"/>
                          <a:cs typeface="DM Sans 1 Bold"/>
                          <a:sym typeface="DM Sans 1 Bold"/>
                        </a:rPr>
                        <a:t>Full Name</a:t>
                      </a:r>
                      <a:endParaRPr lang="en-US" sz="1100" b="1" dirty="0"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6153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153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3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153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1D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ts val="1400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1000" b="1" dirty="0">
                          <a:solidFill>
                            <a:srgbClr val="487A63"/>
                          </a:solidFill>
                          <a:latin typeface="DM Sans" pitchFamily="2" charset="0"/>
                          <a:ea typeface="DM Sans 1 Bold"/>
                          <a:cs typeface="DM Sans 1 Bold"/>
                          <a:sym typeface="DM Sans 1 Bold"/>
                        </a:rPr>
                        <a:t>Phone</a:t>
                      </a:r>
                      <a:endParaRPr lang="en-US" sz="1100" b="1" dirty="0"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6153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153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3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153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1D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ts val="1400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1000" b="1" dirty="0">
                          <a:solidFill>
                            <a:srgbClr val="487A63"/>
                          </a:solidFill>
                          <a:latin typeface="DM Sans" pitchFamily="2" charset="0"/>
                          <a:ea typeface="DM Sans 1 Bold"/>
                          <a:cs typeface="DM Sans 1 Bold"/>
                          <a:sym typeface="DM Sans 1 Bold"/>
                        </a:rPr>
                        <a:t>Tee Time Preference</a:t>
                      </a:r>
                      <a:endParaRPr lang="en-US" sz="1100" b="1" dirty="0"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6153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153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3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153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1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2155"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3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3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3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2155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2155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2155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2155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2155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2155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2155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92155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92155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92155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92155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92155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1000" dirty="0">
                        <a:solidFill>
                          <a:srgbClr val="487A63"/>
                        </a:solidFill>
                        <a:latin typeface="DM Sans" pitchFamily="2" charset="0"/>
                      </a:endParaRPr>
                    </a:p>
                  </a:txBody>
                  <a:tcPr marL="0" marR="0" marT="0" marB="0" anchor="ctr">
                    <a:lnL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6" cap="flat" cmpd="sng" algn="ctr">
                      <a:solidFill>
                        <a:srgbClr val="487A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9</TotalTime>
  <Words>14</Words>
  <Application>Microsoft Office PowerPoint</Application>
  <PresentationFormat>Custom</PresentationFormat>
  <Paragraphs>7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Calibri</vt:lpstr>
      <vt:lpstr>Albert Sans</vt:lpstr>
      <vt:lpstr>DM Sans</vt:lpstr>
      <vt:lpstr>Arial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(Portrait)</dc:title>
  <dc:creator>Hoang Anh</dc:creator>
  <cp:lastModifiedBy>Anh Hoang</cp:lastModifiedBy>
  <cp:revision>37</cp:revision>
  <dcterms:created xsi:type="dcterms:W3CDTF">2006-08-16T00:00:00Z</dcterms:created>
  <dcterms:modified xsi:type="dcterms:W3CDTF">2024-08-29T09:15:57Z</dcterms:modified>
  <dc:identifier>DAGPM7CRhDg</dc:identifier>
</cp:coreProperties>
</file>